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5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5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5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451028"/>
              </p:ext>
            </p:extLst>
          </p:nvPr>
        </p:nvGraphicFramePr>
        <p:xfrm>
          <a:off x="323851" y="638008"/>
          <a:ext cx="11519385" cy="5517643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73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873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lepšení situace v nemocnici KV a Chebu Nicméně stále ponechá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án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a IP tak, aby mohla být výpomoc v rámci kraje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2911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715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4237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vyčerpány lidské i materiální zdro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081846"/>
              </p:ext>
            </p:extLst>
          </p:nvPr>
        </p:nvGraphicFramePr>
        <p:xfrm>
          <a:off x="372867" y="838718"/>
          <a:ext cx="11435203" cy="495475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stupný pokles C19 hospitalizací, na JIP méně vyjádřený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 dále zatěžují pacienti post-COVID mimo evidenci ISIN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zvládnutelná v rámci ULK. 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stateč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nadále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5</a:t>
            </a:r>
            <a:r>
              <a:rPr lang="cs-CZ" b="1" dirty="0" smtClean="0"/>
              <a:t>.1.2022 00:33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38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081977"/>
              </p:ext>
            </p:extLst>
          </p:nvPr>
        </p:nvGraphicFramePr>
        <p:xfrm>
          <a:off x="332818" y="958039"/>
          <a:ext cx="9198045" cy="5414533"/>
        </p:xfrm>
        <a:graphic>
          <a:graphicData uri="http://schemas.openxmlformats.org/drawingml/2006/table">
            <a:tbl>
              <a:tblPr/>
              <a:tblGrid>
                <a:gridCol w="1952510">
                  <a:extLst>
                    <a:ext uri="{9D8B030D-6E8A-4147-A177-3AD203B41FA5}">
                      <a16:colId xmlns:a16="http://schemas.microsoft.com/office/drawing/2014/main" val="3909829008"/>
                    </a:ext>
                  </a:extLst>
                </a:gridCol>
                <a:gridCol w="1195414">
                  <a:extLst>
                    <a:ext uri="{9D8B030D-6E8A-4147-A177-3AD203B41FA5}">
                      <a16:colId xmlns:a16="http://schemas.microsoft.com/office/drawing/2014/main" val="2329614967"/>
                    </a:ext>
                  </a:extLst>
                </a:gridCol>
                <a:gridCol w="1105757">
                  <a:extLst>
                    <a:ext uri="{9D8B030D-6E8A-4147-A177-3AD203B41FA5}">
                      <a16:colId xmlns:a16="http://schemas.microsoft.com/office/drawing/2014/main" val="424736634"/>
                    </a:ext>
                  </a:extLst>
                </a:gridCol>
                <a:gridCol w="1102438">
                  <a:extLst>
                    <a:ext uri="{9D8B030D-6E8A-4147-A177-3AD203B41FA5}">
                      <a16:colId xmlns:a16="http://schemas.microsoft.com/office/drawing/2014/main" val="962933403"/>
                    </a:ext>
                  </a:extLst>
                </a:gridCol>
                <a:gridCol w="1142284">
                  <a:extLst>
                    <a:ext uri="{9D8B030D-6E8A-4147-A177-3AD203B41FA5}">
                      <a16:colId xmlns:a16="http://schemas.microsoft.com/office/drawing/2014/main" val="1205389387"/>
                    </a:ext>
                  </a:extLst>
                </a:gridCol>
                <a:gridCol w="1145605">
                  <a:extLst>
                    <a:ext uri="{9D8B030D-6E8A-4147-A177-3AD203B41FA5}">
                      <a16:colId xmlns:a16="http://schemas.microsoft.com/office/drawing/2014/main" val="3832380660"/>
                    </a:ext>
                  </a:extLst>
                </a:gridCol>
                <a:gridCol w="1554037">
                  <a:extLst>
                    <a:ext uri="{9D8B030D-6E8A-4147-A177-3AD203B41FA5}">
                      <a16:colId xmlns:a16="http://schemas.microsoft.com/office/drawing/2014/main" val="3780392748"/>
                    </a:ext>
                  </a:extLst>
                </a:gridCol>
              </a:tblGrid>
              <a:tr h="19082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3420801"/>
                  </a:ext>
                </a:extLst>
              </a:tr>
              <a:tr h="19082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05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126566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8886007"/>
                  </a:ext>
                </a:extLst>
              </a:tr>
              <a:tr h="1908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2471195"/>
                  </a:ext>
                </a:extLst>
              </a:tr>
              <a:tr h="71084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614846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03664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139039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9912760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582148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308264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9651644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4394897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190877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854680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1990552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308296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39386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0798735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6540048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317880"/>
                  </a:ext>
                </a:extLst>
              </a:tr>
              <a:tr h="19082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2614324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816762"/>
                  </a:ext>
                </a:extLst>
              </a:tr>
              <a:tr h="190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8494627"/>
                  </a:ext>
                </a:extLst>
              </a:tr>
              <a:tr h="19082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1678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410025"/>
              </p:ext>
            </p:extLst>
          </p:nvPr>
        </p:nvGraphicFramePr>
        <p:xfrm>
          <a:off x="202282" y="971135"/>
          <a:ext cx="9258242" cy="5384033"/>
        </p:xfrm>
        <a:graphic>
          <a:graphicData uri="http://schemas.openxmlformats.org/drawingml/2006/table">
            <a:tbl>
              <a:tblPr/>
              <a:tblGrid>
                <a:gridCol w="1965288">
                  <a:extLst>
                    <a:ext uri="{9D8B030D-6E8A-4147-A177-3AD203B41FA5}">
                      <a16:colId xmlns:a16="http://schemas.microsoft.com/office/drawing/2014/main" val="1688646674"/>
                    </a:ext>
                  </a:extLst>
                </a:gridCol>
                <a:gridCol w="1203238">
                  <a:extLst>
                    <a:ext uri="{9D8B030D-6E8A-4147-A177-3AD203B41FA5}">
                      <a16:colId xmlns:a16="http://schemas.microsoft.com/office/drawing/2014/main" val="516729214"/>
                    </a:ext>
                  </a:extLst>
                </a:gridCol>
                <a:gridCol w="1112994">
                  <a:extLst>
                    <a:ext uri="{9D8B030D-6E8A-4147-A177-3AD203B41FA5}">
                      <a16:colId xmlns:a16="http://schemas.microsoft.com/office/drawing/2014/main" val="2150102042"/>
                    </a:ext>
                  </a:extLst>
                </a:gridCol>
                <a:gridCol w="1109652">
                  <a:extLst>
                    <a:ext uri="{9D8B030D-6E8A-4147-A177-3AD203B41FA5}">
                      <a16:colId xmlns:a16="http://schemas.microsoft.com/office/drawing/2014/main" val="2380208757"/>
                    </a:ext>
                  </a:extLst>
                </a:gridCol>
                <a:gridCol w="1149759">
                  <a:extLst>
                    <a:ext uri="{9D8B030D-6E8A-4147-A177-3AD203B41FA5}">
                      <a16:colId xmlns:a16="http://schemas.microsoft.com/office/drawing/2014/main" val="695420083"/>
                    </a:ext>
                  </a:extLst>
                </a:gridCol>
                <a:gridCol w="1153102">
                  <a:extLst>
                    <a:ext uri="{9D8B030D-6E8A-4147-A177-3AD203B41FA5}">
                      <a16:colId xmlns:a16="http://schemas.microsoft.com/office/drawing/2014/main" val="4039884175"/>
                    </a:ext>
                  </a:extLst>
                </a:gridCol>
                <a:gridCol w="1564209">
                  <a:extLst>
                    <a:ext uri="{9D8B030D-6E8A-4147-A177-3AD203B41FA5}">
                      <a16:colId xmlns:a16="http://schemas.microsoft.com/office/drawing/2014/main" val="3160540941"/>
                    </a:ext>
                  </a:extLst>
                </a:gridCol>
              </a:tblGrid>
              <a:tr h="18653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869548"/>
                  </a:ext>
                </a:extLst>
              </a:tr>
              <a:tr h="18653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05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1325837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8717339"/>
                  </a:ext>
                </a:extLst>
              </a:tr>
              <a:tr h="1865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248557"/>
                  </a:ext>
                </a:extLst>
              </a:tr>
              <a:tr h="68005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7538024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042826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990611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89530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663409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4674516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816854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835634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328849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840934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5445691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5250052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057146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5414043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288713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2328431"/>
                  </a:ext>
                </a:extLst>
              </a:tr>
              <a:tr h="18653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6790134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7177588"/>
                  </a:ext>
                </a:extLst>
              </a:tr>
              <a:tr h="18653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849671"/>
                  </a:ext>
                </a:extLst>
              </a:tr>
              <a:tr h="18653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150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5</a:t>
            </a:r>
            <a:r>
              <a:rPr lang="cs-CZ" b="1" dirty="0" smtClean="0"/>
              <a:t>.1.2022 00:33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31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147542"/>
              </p:ext>
            </p:extLst>
          </p:nvPr>
        </p:nvGraphicFramePr>
        <p:xfrm>
          <a:off x="395653" y="1028707"/>
          <a:ext cx="8490776" cy="5359063"/>
        </p:xfrm>
        <a:graphic>
          <a:graphicData uri="http://schemas.openxmlformats.org/drawingml/2006/table">
            <a:tbl>
              <a:tblPr/>
              <a:tblGrid>
                <a:gridCol w="1725744">
                  <a:extLst>
                    <a:ext uri="{9D8B030D-6E8A-4147-A177-3AD203B41FA5}">
                      <a16:colId xmlns:a16="http://schemas.microsoft.com/office/drawing/2014/main" val="2609778181"/>
                    </a:ext>
                  </a:extLst>
                </a:gridCol>
                <a:gridCol w="1056578">
                  <a:extLst>
                    <a:ext uri="{9D8B030D-6E8A-4147-A177-3AD203B41FA5}">
                      <a16:colId xmlns:a16="http://schemas.microsoft.com/office/drawing/2014/main" val="2859091875"/>
                    </a:ext>
                  </a:extLst>
                </a:gridCol>
                <a:gridCol w="977334">
                  <a:extLst>
                    <a:ext uri="{9D8B030D-6E8A-4147-A177-3AD203B41FA5}">
                      <a16:colId xmlns:a16="http://schemas.microsoft.com/office/drawing/2014/main" val="3777160148"/>
                    </a:ext>
                  </a:extLst>
                </a:gridCol>
                <a:gridCol w="974399">
                  <a:extLst>
                    <a:ext uri="{9D8B030D-6E8A-4147-A177-3AD203B41FA5}">
                      <a16:colId xmlns:a16="http://schemas.microsoft.com/office/drawing/2014/main" val="406662487"/>
                    </a:ext>
                  </a:extLst>
                </a:gridCol>
                <a:gridCol w="1009619">
                  <a:extLst>
                    <a:ext uri="{9D8B030D-6E8A-4147-A177-3AD203B41FA5}">
                      <a16:colId xmlns:a16="http://schemas.microsoft.com/office/drawing/2014/main" val="3984430510"/>
                    </a:ext>
                  </a:extLst>
                </a:gridCol>
                <a:gridCol w="1373551">
                  <a:extLst>
                    <a:ext uri="{9D8B030D-6E8A-4147-A177-3AD203B41FA5}">
                      <a16:colId xmlns:a16="http://schemas.microsoft.com/office/drawing/2014/main" val="2797664524"/>
                    </a:ext>
                  </a:extLst>
                </a:gridCol>
                <a:gridCol w="1373551">
                  <a:extLst>
                    <a:ext uri="{9D8B030D-6E8A-4147-A177-3AD203B41FA5}">
                      <a16:colId xmlns:a16="http://schemas.microsoft.com/office/drawing/2014/main" val="3682107686"/>
                    </a:ext>
                  </a:extLst>
                </a:gridCol>
              </a:tblGrid>
              <a:tr h="219006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8943629"/>
                  </a:ext>
                </a:extLst>
              </a:tr>
              <a:tr h="21900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5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5826584"/>
                  </a:ext>
                </a:extLst>
              </a:tr>
              <a:tr h="18813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9422410"/>
                  </a:ext>
                </a:extLst>
              </a:tr>
              <a:tr h="21900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3705052"/>
                  </a:ext>
                </a:extLst>
              </a:tr>
              <a:tr h="59444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483115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048468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46339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647613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2750485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287439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749073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27516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155530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779836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6674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186787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315655"/>
                  </a:ext>
                </a:extLst>
              </a:tr>
              <a:tr h="1955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981223"/>
                  </a:ext>
                </a:extLst>
              </a:tr>
              <a:tr h="2033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882597"/>
                  </a:ext>
                </a:extLst>
              </a:tr>
              <a:tr h="2111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9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2029045"/>
                  </a:ext>
                </a:extLst>
              </a:tr>
              <a:tr h="195541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258723"/>
                  </a:ext>
                </a:extLst>
              </a:tr>
              <a:tr h="18813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920830"/>
                  </a:ext>
                </a:extLst>
              </a:tr>
              <a:tr h="18813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5290776"/>
                  </a:ext>
                </a:extLst>
              </a:tr>
              <a:tr h="19554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15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5.1.2022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495645"/>
              </p:ext>
            </p:extLst>
          </p:nvPr>
        </p:nvGraphicFramePr>
        <p:xfrm>
          <a:off x="1590116" y="1126073"/>
          <a:ext cx="6059191" cy="4851612"/>
        </p:xfrm>
        <a:graphic>
          <a:graphicData uri="http://schemas.openxmlformats.org/drawingml/2006/table">
            <a:tbl>
              <a:tblPr/>
              <a:tblGrid>
                <a:gridCol w="3780880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29085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649226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C Klinika Zlín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12.2021 7:1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5:5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8:3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10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12.2021 16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12.2021 8:0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01.2022 10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setín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7:3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družené zdravot. zařízení Krnov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 Nemocni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7:4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4991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. Pardubického kraje, a.s., Pardubic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0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928162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62399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9:4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953861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3.01.2022 10:1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4661796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051513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5.1.2022 0:33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854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708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38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12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9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71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8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7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31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47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8,7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357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8,6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8328477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5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6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722482" y="3533958"/>
            <a:ext cx="1095370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Dne 4.1. bylo 170 nově přijatých C+ pacientů a 266 propuštěných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V krajích je stále omezený personál a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, ale dochází k mírnému zlepšení situace.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ůžk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 jsou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ale stále obsazena post-COVID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, kteří potřebují nadále UPV.</a:t>
            </a: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354406"/>
              </p:ext>
            </p:extLst>
          </p:nvPr>
        </p:nvGraphicFramePr>
        <p:xfrm>
          <a:off x="332646" y="832094"/>
          <a:ext cx="11405086" cy="5206041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 stabilizuj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Z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MP nemá problém se závoz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nadále do začátku ledna zastaven, onkologická aj. neodkladná operativa bez omezení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pozvolna zlepšuje, standardní lůžka s dostatečnou kapacitou, více riziková stran kapacit je intenzivní péče, kde zůstává dlouhodobě mnoho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 s omezením akutní kapaci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190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929223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mírně redukovány, do příštího týdne navýšení elektiv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innnosti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00902"/>
              </p:ext>
            </p:extLst>
          </p:nvPr>
        </p:nvGraphicFramePr>
        <p:xfrm>
          <a:off x="279292" y="797060"/>
          <a:ext cx="11587543" cy="5711740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relativně stabilní, snižuje se počet pac. na standardních odd., v IP postupně taktéž v porovnání s předchozím týdnem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nyní víc než 50%, akutní/neodkladný provoz zajištěn, personální stabilizace i snížená operativa částečně daná vánočními svátky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086</TotalTime>
  <Words>2117</Words>
  <Application>Microsoft Office PowerPoint</Application>
  <PresentationFormat>Širokoúhlá obrazovka</PresentationFormat>
  <Paragraphs>58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814</cp:revision>
  <cp:lastPrinted>2020-10-20T04:21:56Z</cp:lastPrinted>
  <dcterms:created xsi:type="dcterms:W3CDTF">2020-07-15T10:33:32Z</dcterms:created>
  <dcterms:modified xsi:type="dcterms:W3CDTF">2022-01-05T10:12:36Z</dcterms:modified>
</cp:coreProperties>
</file>